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2" r:id="rId1"/>
  </p:sldMasterIdLst>
  <p:notesMasterIdLst>
    <p:notesMasterId r:id="rId3"/>
  </p:notesMasterIdLst>
  <p:handoutMasterIdLst>
    <p:handoutMasterId r:id="rId4"/>
  </p:handoutMasterIdLst>
  <p:sldIdLst>
    <p:sldId id="329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4660"/>
  </p:normalViewPr>
  <p:slideViewPr>
    <p:cSldViewPr snapToGrid="0" showGuides="1">
      <p:cViewPr varScale="1">
        <p:scale>
          <a:sx n="82" d="100"/>
          <a:sy n="82" d="100"/>
        </p:scale>
        <p:origin x="1502" y="7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-9918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13/08/2019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13/08/2019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N°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9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244750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3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N°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magine 11" descr="SidelLogoRGB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4836" y="6483578"/>
            <a:ext cx="938152" cy="256947"/>
          </a:xfrm>
          <a:prstGeom prst="rect">
            <a:avLst/>
          </a:prstGeom>
        </p:spPr>
      </p:pic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378446" y="6471704"/>
            <a:ext cx="550918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 August 2019</a:t>
            </a:fld>
            <a:r>
              <a:rPr lang="en-GB" sz="900" b="0" i="0" u="none" strike="noStrike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dirty="0">
                <a:solidFill>
                  <a:schemeClr val="accent5"/>
                </a:solidFill>
                <a:latin typeface="+mn-lt"/>
              </a:rPr>
              <a:t>[</a:t>
            </a:r>
            <a:r>
              <a:rPr lang="en-US" dirty="0">
                <a:solidFill>
                  <a:schemeClr val="accent5"/>
                </a:solidFill>
                <a:latin typeface="+mn-lt"/>
              </a:rPr>
              <a:t>Public / Internal / Restricted / Highly confidential]</a:t>
            </a:r>
            <a:endParaRPr lang="en-GB" sz="9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4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283131C9-130E-4FD9-9FA8-4543532D0081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295248988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26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1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6" name="Objekt 2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5" name="Group 188"/>
          <p:cNvGraphicFramePr>
            <a:graphicFrameLocks noGrp="1"/>
          </p:cNvGraphicFramePr>
          <p:nvPr>
            <p:extLst/>
          </p:nvPr>
        </p:nvGraphicFramePr>
        <p:xfrm>
          <a:off x="651885" y="1743075"/>
          <a:ext cx="7997390" cy="3990181"/>
        </p:xfrm>
        <a:graphic>
          <a:graphicData uri="http://schemas.openxmlformats.org/drawingml/2006/table">
            <a:tbl>
              <a:tblPr/>
              <a:tblGrid>
                <a:gridCol w="38752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9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77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24302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</a:rPr>
                        <a:t>VALOR Y VENTAJAS</a:t>
                      </a:r>
                      <a:endParaRPr kumimoji="0" lang="es-ES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MS PGothic" pitchFamily="34" charset="-128"/>
                        <a:cs typeface="+mn-cs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DESCRIPCIÓN</a:t>
                      </a:r>
                      <a:endParaRPr kumimoji="0" lang="es-ES" alt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2341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Eficiencia: </a:t>
                      </a:r>
                      <a:r>
                        <a:rPr lang="en-US" sz="1200" b="1" dirty="0">
                          <a:solidFill>
                            <a:schemeClr val="accent4"/>
                          </a:solidFill>
                          <a:latin typeface="+mn-lt"/>
                        </a:rPr>
                        <a:t>50 % menos de paradas de la producción con un solo operador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Optimización de costos: la reducción de los tiempos de </a:t>
                      </a:r>
                      <a:r>
                        <a:rPr lang="en-US" sz="12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paro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  <a:latin typeface="Arial" charset="0"/>
                        </a:rPr>
                        <a:t> </a:t>
                      </a:r>
                      <a:r>
                        <a:rPr lang="en-US" sz="12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significa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 un mejor retorno de la inversión (TCO).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Seguridad: sistema semiautomatizado, que requiere </a:t>
                      </a:r>
                      <a:r>
                        <a:rPr lang="en-US" sz="12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menos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2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operaciones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 manuales.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Sencillez y ergonomía: operaciones sin necesidad de herramientas y con un sencillo acceso a las piezas.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sz="1200" b="0" i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El Bottle Switch™ patentado de Sidel mejora la flexibilidad de la sopladora al reducir el tiempo para el cambio de moldes a menos de un minuto (disminuye el tiempo de paro a la mitad). Esta solución semiautomática es sencilla para los operadores y no requiere herramientas.</a:t>
                      </a:r>
                      <a:endParaRPr kumimoji="0" lang="es-E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El Bottle Switch™ está disponible en 5 paquetes (packs) para adaptarse a las necesidades de los clientes.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El Pack 2 contiene un conjunto de cambios de cuerpo de molde.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/>
              <a:t>Significativa reducción de los tiempos de cambio de formato</a:t>
            </a:r>
            <a:endParaRPr lang="es-ES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54777" y="1422515"/>
            <a:ext cx="7997825" cy="307975"/>
          </a:xfrm>
        </p:spPr>
        <p:txBody>
          <a:bodyPr vert="horz" lIns="0" tIns="0" rIns="0" bIns="0" rtlCol="0">
            <a:spAutoFit/>
          </a:bodyPr>
          <a:lstStyle/>
          <a:p>
            <a:r>
              <a:rPr dirty="0"/>
              <a:t>Bottle Switch™  Series 2 – Pack 2</a:t>
            </a:r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2425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lor: Flexibilida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quipo: sopladoras Series 2 (MM GM Series 2 [GUPM cilíndrica, SBO no-HR])</a:t>
            </a:r>
            <a:endParaRPr kumimoji="0" lang="es-ES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ódigo de catálogo: 968P2</a:t>
            </a:r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2" name="Picture 3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979" t="6013" r="10979" b="6013"/>
          <a:stretch/>
        </p:blipFill>
        <p:spPr bwMode="auto">
          <a:xfrm>
            <a:off x="5860330" y="4319150"/>
            <a:ext cx="1703815" cy="13781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Rechteck 11">
            <a:extLst>
              <a:ext uri="{FF2B5EF4-FFF2-40B4-BE49-F238E27FC236}">
                <a16:creationId xmlns:a16="http://schemas.microsoft.com/office/drawing/2014/main" id="{CF4D883B-7B20-4EE1-A224-1D9772F7FD20}"/>
              </a:ext>
            </a:extLst>
          </p:cNvPr>
          <p:cNvSpPr/>
          <p:nvPr/>
        </p:nvSpPr>
        <p:spPr>
          <a:xfrm>
            <a:off x="4771170" y="1743075"/>
            <a:ext cx="3878540" cy="40004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>
            <a:lvl1pPr marL="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190500" marR="0" lvl="0" indent="-1905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de-CH" altLang="de-DE" sz="1400" b="1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DESCRIPCIÓN</a:t>
            </a:r>
            <a:endParaRPr kumimoji="0" lang="es-ES" altLang="de-DE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79682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SLIDE_COUNT" val="13"/>
  <p:tag name="ARTICULATE_PROJECT_OPEN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IOMT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-modele-new.potx" id="{63F86F24-1EED-41D3-90E6-59487835C019}" vid="{E4DD9F58-C7BE-4ED2-AAEB-88540AD62E8F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wSidel_Template_4x3_v10_FINAL</Template>
  <TotalTime>0</TotalTime>
  <Words>195</Words>
  <Application>Microsoft Office PowerPoint</Application>
  <PresentationFormat>Affichage à l'écran (4:3)</PresentationFormat>
  <Paragraphs>15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6" baseType="lpstr">
      <vt:lpstr>MS PGothic</vt:lpstr>
      <vt:lpstr>Arial</vt:lpstr>
      <vt:lpstr>Wingdings</vt:lpstr>
      <vt:lpstr>LIOMT</vt:lpstr>
      <vt:lpstr>think-cell Folie</vt:lpstr>
      <vt:lpstr>Significativa reducción de los tiempos de cambio de formato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mprove your equipment efficiency by implementing the autonomous maintenance principles</dc:title>
  <dc:creator>Sorega, Dan</dc:creator>
  <cp:lastModifiedBy>Sorega, Dan</cp:lastModifiedBy>
  <cp:revision>18</cp:revision>
  <dcterms:created xsi:type="dcterms:W3CDTF">2017-06-28T07:21:44Z</dcterms:created>
  <dcterms:modified xsi:type="dcterms:W3CDTF">2019-08-13T13:45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107200@sidel.com</vt:lpwstr>
  </property>
  <property fmtid="{D5CDD505-2E9C-101B-9397-08002B2CF9AE}" pid="7" name="MSIP_Label_94480757-a570-4f64-84e7-c5b3ffe9d573_SetDate">
    <vt:lpwstr>2019-08-13T13:45:36.2580779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8-04-10T13:45:49.9530240+02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8-04-10T13:45:49.9530240+02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